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6797675" cy="9926638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576C"/>
    <a:srgbClr val="FFFFFF"/>
    <a:srgbClr val="FB3449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2189" autoAdjust="0"/>
    <p:restoredTop sz="94584" autoAdjust="0"/>
  </p:normalViewPr>
  <p:slideViewPr>
    <p:cSldViewPr snapToGrid="0">
      <p:cViewPr varScale="1">
        <p:scale>
          <a:sx n="104" d="100"/>
          <a:sy n="104" d="100"/>
        </p:scale>
        <p:origin x="2232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95" d="100"/>
          <a:sy n="95" d="100"/>
        </p:scale>
        <p:origin x="-4256" y="-10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/2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/2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Subheading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2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7pt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Results’ he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XX% 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3721100" y="1778000"/>
            <a:ext cx="5943600" cy="36195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0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ineworld</a:t>
            </a:r>
            <a:r>
              <a:rPr lang="en-US" dirty="0"/>
              <a:t>: Movies for juniors</a:t>
            </a:r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ake your brand ‘family-friendly’</a:t>
            </a:r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66699" y="1999286"/>
            <a:ext cx="2997201" cy="181768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It’s how </a:t>
            </a:r>
            <a:r>
              <a:rPr lang="en-GB" dirty="0" err="1"/>
              <a:t>Cineworld</a:t>
            </a:r>
            <a:r>
              <a:rPr lang="en-GB" dirty="0"/>
              <a:t> facilitate great family outings, with £1* tickets to family-themed films that fill the kids with joy and wonder – and keep the Mums and Dads happy too. </a:t>
            </a:r>
          </a:p>
          <a:p>
            <a:pPr>
              <a:lnSpc>
                <a:spcPct val="110000"/>
              </a:lnSpc>
            </a:pPr>
            <a:endParaRPr lang="en-GB" dirty="0"/>
          </a:p>
          <a:p>
            <a:pPr>
              <a:lnSpc>
                <a:spcPct val="110000"/>
              </a:lnSpc>
            </a:pPr>
            <a:r>
              <a:rPr lang="en-GB" dirty="0"/>
              <a:t>M4J is just for families, so your family-oriented messages are always 100% on-target, with incredible opportunities to convert morning viewers to afternoon shoppers in the many retail environments around the cinema.</a:t>
            </a:r>
          </a:p>
          <a:p>
            <a:pPr>
              <a:lnSpc>
                <a:spcPct val="110000"/>
              </a:lnSpc>
            </a:pPr>
            <a:endParaRPr lang="en-GB" dirty="0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266898" y="1706953"/>
            <a:ext cx="3071813" cy="256620"/>
          </a:xfrm>
        </p:spPr>
        <p:txBody>
          <a:bodyPr/>
          <a:lstStyle/>
          <a:p>
            <a:r>
              <a:rPr lang="en-US" dirty="0"/>
              <a:t>What is ‘Movies for Juniors’?</a:t>
            </a:r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264416" y="3641782"/>
            <a:ext cx="3071813" cy="344487"/>
          </a:xfrm>
        </p:spPr>
        <p:txBody>
          <a:bodyPr/>
          <a:lstStyle/>
          <a:p>
            <a:r>
              <a:rPr lang="en-US" dirty="0"/>
              <a:t>The Partnership Package</a:t>
            </a:r>
          </a:p>
        </p:txBody>
      </p:sp>
      <p:sp>
        <p:nvSpPr>
          <p:cNvPr id="19" name="Freeform 120"/>
          <p:cNvSpPr>
            <a:spLocks noChangeAspect="1" noEditPoints="1"/>
          </p:cNvSpPr>
          <p:nvPr/>
        </p:nvSpPr>
        <p:spPr bwMode="auto">
          <a:xfrm>
            <a:off x="1670568" y="1102562"/>
            <a:ext cx="396000" cy="396000"/>
          </a:xfrm>
          <a:custGeom>
            <a:avLst/>
            <a:gdLst/>
            <a:ahLst/>
            <a:cxnLst>
              <a:cxn ang="0">
                <a:pos x="294" y="396"/>
              </a:cxn>
              <a:cxn ang="0">
                <a:pos x="350" y="324"/>
              </a:cxn>
              <a:cxn ang="0">
                <a:pos x="350" y="520"/>
              </a:cxn>
              <a:cxn ang="0">
                <a:pos x="234" y="448"/>
              </a:cxn>
              <a:cxn ang="0">
                <a:pos x="234" y="448"/>
              </a:cxn>
              <a:cxn ang="0">
                <a:pos x="206" y="324"/>
              </a:cxn>
              <a:cxn ang="0">
                <a:pos x="250" y="520"/>
              </a:cxn>
              <a:cxn ang="0">
                <a:pos x="270" y="474"/>
              </a:cxn>
              <a:cxn ang="0">
                <a:pos x="432" y="520"/>
              </a:cxn>
              <a:cxn ang="0">
                <a:pos x="362" y="204"/>
              </a:cxn>
              <a:cxn ang="0">
                <a:pos x="358" y="300"/>
              </a:cxn>
              <a:cxn ang="0">
                <a:pos x="366" y="206"/>
              </a:cxn>
              <a:cxn ang="0">
                <a:pos x="522" y="324"/>
              </a:cxn>
              <a:cxn ang="0">
                <a:pos x="432" y="448"/>
              </a:cxn>
              <a:cxn ang="0">
                <a:pos x="364" y="0"/>
              </a:cxn>
              <a:cxn ang="0">
                <a:pos x="256" y="16"/>
              </a:cxn>
              <a:cxn ang="0">
                <a:pos x="132" y="82"/>
              </a:cxn>
              <a:cxn ang="0">
                <a:pos x="44" y="190"/>
              </a:cxn>
              <a:cxn ang="0">
                <a:pos x="2" y="326"/>
              </a:cxn>
              <a:cxn ang="0">
                <a:pos x="8" y="436"/>
              </a:cxn>
              <a:cxn ang="0">
                <a:pos x="62" y="566"/>
              </a:cxn>
              <a:cxn ang="0">
                <a:pos x="160" y="664"/>
              </a:cxn>
              <a:cxn ang="0">
                <a:pos x="290" y="718"/>
              </a:cxn>
              <a:cxn ang="0">
                <a:pos x="400" y="724"/>
              </a:cxn>
              <a:cxn ang="0">
                <a:pos x="536" y="682"/>
              </a:cxn>
              <a:cxn ang="0">
                <a:pos x="644" y="594"/>
              </a:cxn>
              <a:cxn ang="0">
                <a:pos x="710" y="470"/>
              </a:cxn>
              <a:cxn ang="0">
                <a:pos x="726" y="362"/>
              </a:cxn>
              <a:cxn ang="0">
                <a:pos x="698" y="222"/>
              </a:cxn>
              <a:cxn ang="0">
                <a:pos x="620" y="106"/>
              </a:cxn>
              <a:cxn ang="0">
                <a:pos x="504" y="28"/>
              </a:cxn>
              <a:cxn ang="0">
                <a:pos x="364" y="0"/>
              </a:cxn>
              <a:cxn ang="0">
                <a:pos x="498" y="532"/>
              </a:cxn>
              <a:cxn ang="0">
                <a:pos x="474" y="544"/>
              </a:cxn>
              <a:cxn ang="0">
                <a:pos x="234" y="538"/>
              </a:cxn>
              <a:cxn ang="0">
                <a:pos x="180" y="328"/>
              </a:cxn>
              <a:cxn ang="0">
                <a:pos x="182" y="314"/>
              </a:cxn>
              <a:cxn ang="0">
                <a:pos x="202" y="300"/>
              </a:cxn>
              <a:cxn ang="0">
                <a:pos x="334" y="190"/>
              </a:cxn>
              <a:cxn ang="0">
                <a:pos x="376" y="180"/>
              </a:cxn>
              <a:cxn ang="0">
                <a:pos x="392" y="190"/>
              </a:cxn>
              <a:cxn ang="0">
                <a:pos x="524" y="300"/>
              </a:cxn>
              <a:cxn ang="0">
                <a:pos x="546" y="314"/>
              </a:cxn>
              <a:cxn ang="0">
                <a:pos x="458" y="448"/>
              </a:cxn>
              <a:cxn ang="0">
                <a:pos x="458" y="448"/>
              </a:cxn>
              <a:cxn ang="0">
                <a:pos x="476" y="520"/>
              </a:cxn>
              <a:cxn ang="0">
                <a:pos x="458" y="474"/>
              </a:cxn>
              <a:cxn ang="0">
                <a:pos x="432" y="324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8"/>
                </a:lnTo>
                <a:lnTo>
                  <a:pt x="180" y="322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4" y="520"/>
                </a:lnTo>
                <a:lnTo>
                  <a:pt x="476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AC162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277"/>
          <p:cNvSpPr>
            <a:spLocks noChangeAspect="1" noEditPoints="1"/>
          </p:cNvSpPr>
          <p:nvPr/>
        </p:nvSpPr>
        <p:spPr bwMode="auto">
          <a:xfrm>
            <a:off x="264416" y="1102562"/>
            <a:ext cx="396000" cy="396000"/>
          </a:xfrm>
          <a:custGeom>
            <a:avLst/>
            <a:gdLst/>
            <a:ahLst/>
            <a:cxnLst>
              <a:cxn ang="0">
                <a:pos x="190" y="44"/>
              </a:cxn>
              <a:cxn ang="0">
                <a:pos x="28" y="222"/>
              </a:cxn>
              <a:cxn ang="0">
                <a:pos x="8" y="436"/>
              </a:cxn>
              <a:cxn ang="0">
                <a:pos x="132" y="642"/>
              </a:cxn>
              <a:cxn ang="0">
                <a:pos x="364" y="726"/>
              </a:cxn>
              <a:cxn ang="0">
                <a:pos x="566" y="664"/>
              </a:cxn>
              <a:cxn ang="0">
                <a:pos x="710" y="470"/>
              </a:cxn>
              <a:cxn ang="0">
                <a:pos x="710" y="254"/>
              </a:cxn>
              <a:cxn ang="0">
                <a:pos x="566" y="62"/>
              </a:cxn>
              <a:cxn ang="0">
                <a:pos x="296" y="208"/>
              </a:cxn>
              <a:cxn ang="0">
                <a:pos x="334" y="234"/>
              </a:cxn>
              <a:cxn ang="0">
                <a:pos x="326" y="282"/>
              </a:cxn>
              <a:cxn ang="0">
                <a:pos x="278" y="290"/>
              </a:cxn>
              <a:cxn ang="0">
                <a:pos x="252" y="250"/>
              </a:cxn>
              <a:cxn ang="0">
                <a:pos x="286" y="208"/>
              </a:cxn>
              <a:cxn ang="0">
                <a:pos x="196" y="312"/>
              </a:cxn>
              <a:cxn ang="0">
                <a:pos x="180" y="354"/>
              </a:cxn>
              <a:cxn ang="0">
                <a:pos x="140" y="336"/>
              </a:cxn>
              <a:cxn ang="0">
                <a:pos x="156" y="296"/>
              </a:cxn>
              <a:cxn ang="0">
                <a:pos x="194" y="460"/>
              </a:cxn>
              <a:cxn ang="0">
                <a:pos x="184" y="518"/>
              </a:cxn>
              <a:cxn ang="0">
                <a:pos x="164" y="508"/>
              </a:cxn>
              <a:cxn ang="0">
                <a:pos x="150" y="516"/>
              </a:cxn>
              <a:cxn ang="0">
                <a:pos x="124" y="460"/>
              </a:cxn>
              <a:cxn ang="0">
                <a:pos x="162" y="364"/>
              </a:cxn>
              <a:cxn ang="0">
                <a:pos x="218" y="452"/>
              </a:cxn>
              <a:cxn ang="0">
                <a:pos x="342" y="416"/>
              </a:cxn>
              <a:cxn ang="0">
                <a:pos x="318" y="516"/>
              </a:cxn>
              <a:cxn ang="0">
                <a:pos x="304" y="416"/>
              </a:cxn>
              <a:cxn ang="0">
                <a:pos x="278" y="518"/>
              </a:cxn>
              <a:cxn ang="0">
                <a:pos x="252" y="416"/>
              </a:cxn>
              <a:cxn ang="0">
                <a:pos x="242" y="320"/>
              </a:cxn>
              <a:cxn ang="0">
                <a:pos x="338" y="308"/>
              </a:cxn>
              <a:cxn ang="0">
                <a:pos x="350" y="406"/>
              </a:cxn>
              <a:cxn ang="0">
                <a:pos x="598" y="318"/>
              </a:cxn>
              <a:cxn ang="0">
                <a:pos x="574" y="354"/>
              </a:cxn>
              <a:cxn ang="0">
                <a:pos x="538" y="332"/>
              </a:cxn>
              <a:cxn ang="0">
                <a:pos x="562" y="294"/>
              </a:cxn>
              <a:cxn ang="0">
                <a:pos x="470" y="220"/>
              </a:cxn>
              <a:cxn ang="0">
                <a:pos x="480" y="268"/>
              </a:cxn>
              <a:cxn ang="0">
                <a:pos x="440" y="294"/>
              </a:cxn>
              <a:cxn ang="0">
                <a:pos x="398" y="260"/>
              </a:cxn>
              <a:cxn ang="0">
                <a:pos x="416" y="216"/>
              </a:cxn>
              <a:cxn ang="0">
                <a:pos x="494" y="438"/>
              </a:cxn>
              <a:cxn ang="0">
                <a:pos x="458" y="518"/>
              </a:cxn>
              <a:cxn ang="0">
                <a:pos x="434" y="438"/>
              </a:cxn>
              <a:cxn ang="0">
                <a:pos x="422" y="518"/>
              </a:cxn>
              <a:cxn ang="0">
                <a:pos x="386" y="438"/>
              </a:cxn>
              <a:cxn ang="0">
                <a:pos x="430" y="312"/>
              </a:cxn>
              <a:cxn ang="0">
                <a:pos x="504" y="422"/>
              </a:cxn>
              <a:cxn ang="0">
                <a:pos x="606" y="442"/>
              </a:cxn>
              <a:cxn ang="0">
                <a:pos x="590" y="514"/>
              </a:cxn>
              <a:cxn ang="0">
                <a:pos x="574" y="508"/>
              </a:cxn>
              <a:cxn ang="0">
                <a:pos x="558" y="516"/>
              </a:cxn>
              <a:cxn ang="0">
                <a:pos x="544" y="446"/>
              </a:cxn>
              <a:cxn ang="0">
                <a:pos x="528" y="436"/>
              </a:cxn>
              <a:cxn ang="0">
                <a:pos x="538" y="364"/>
              </a:cxn>
              <a:cxn ang="0">
                <a:pos x="610" y="37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AC162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Freeform 261"/>
          <p:cNvSpPr>
            <a:spLocks noChangeAspect="1" noEditPoints="1"/>
          </p:cNvSpPr>
          <p:nvPr/>
        </p:nvSpPr>
        <p:spPr bwMode="auto">
          <a:xfrm>
            <a:off x="1201850" y="1102562"/>
            <a:ext cx="396000" cy="396000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4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6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82" y="586"/>
              </a:cxn>
              <a:cxn ang="0">
                <a:pos x="480" y="590"/>
              </a:cxn>
              <a:cxn ang="0">
                <a:pos x="252" y="592"/>
              </a:cxn>
              <a:cxn ang="0">
                <a:pos x="248" y="590"/>
              </a:cxn>
              <a:cxn ang="0">
                <a:pos x="246" y="530"/>
              </a:cxn>
              <a:cxn ang="0">
                <a:pos x="248" y="526"/>
              </a:cxn>
              <a:cxn ang="0">
                <a:pos x="476" y="524"/>
              </a:cxn>
              <a:cxn ang="0">
                <a:pos x="480" y="526"/>
              </a:cxn>
              <a:cxn ang="0">
                <a:pos x="482" y="586"/>
              </a:cxn>
              <a:cxn ang="0">
                <a:pos x="504" y="486"/>
              </a:cxn>
              <a:cxn ang="0">
                <a:pos x="500" y="500"/>
              </a:cxn>
              <a:cxn ang="0">
                <a:pos x="486" y="504"/>
              </a:cxn>
              <a:cxn ang="0">
                <a:pos x="242" y="504"/>
              </a:cxn>
              <a:cxn ang="0">
                <a:pos x="228" y="500"/>
              </a:cxn>
              <a:cxn ang="0">
                <a:pos x="224" y="486"/>
              </a:cxn>
              <a:cxn ang="0">
                <a:pos x="224" y="146"/>
              </a:cxn>
              <a:cxn ang="0">
                <a:pos x="228" y="134"/>
              </a:cxn>
              <a:cxn ang="0">
                <a:pos x="242" y="128"/>
              </a:cxn>
              <a:cxn ang="0">
                <a:pos x="486" y="128"/>
              </a:cxn>
              <a:cxn ang="0">
                <a:pos x="500" y="134"/>
              </a:cxn>
              <a:cxn ang="0">
                <a:pos x="504" y="146"/>
              </a:cxn>
              <a:cxn ang="0">
                <a:pos x="260" y="468"/>
              </a:cxn>
              <a:cxn ang="0">
                <a:pos x="468" y="166"/>
              </a:cxn>
              <a:cxn ang="0">
                <a:pos x="260" y="46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AC162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264217" y="3976285"/>
            <a:ext cx="2974283" cy="1817688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GB" dirty="0"/>
              <a:t>M4J takes place at 87 Cineworld sites, delivering approx. 1,700,000 annual admissions. </a:t>
            </a:r>
          </a:p>
          <a:p>
            <a:pPr>
              <a:lnSpc>
                <a:spcPct val="110000"/>
              </a:lnSpc>
            </a:pPr>
            <a:endParaRPr lang="en-GB" dirty="0"/>
          </a:p>
          <a:p>
            <a:pPr>
              <a:lnSpc>
                <a:spcPct val="110000"/>
              </a:lnSpc>
            </a:pPr>
            <a:r>
              <a:rPr lang="en-GB" dirty="0"/>
              <a:t>By sponsoring Movies For Juniors, you can deliver multi-platform communications via…</a:t>
            </a:r>
          </a:p>
          <a:p>
            <a:pPr>
              <a:lnSpc>
                <a:spcPct val="110000"/>
              </a:lnSpc>
            </a:pPr>
            <a:endParaRPr lang="en-GB" dirty="0"/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r>
              <a:rPr lang="en-GB" dirty="0"/>
              <a:t>Branded assets throughout the customer journey that promote the partnership.</a:t>
            </a:r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endParaRPr lang="en-GB" dirty="0"/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r>
              <a:rPr lang="en-GB" dirty="0"/>
              <a:t>Seasonal competitions that allow you to collect data.</a:t>
            </a:r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endParaRPr lang="en-GB" dirty="0"/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r>
              <a:rPr lang="en-GB" dirty="0"/>
              <a:t>Product demonstrations and sampling that</a:t>
            </a:r>
            <a:br>
              <a:rPr lang="en-GB" dirty="0"/>
            </a:br>
            <a:r>
              <a:rPr lang="en-GB" dirty="0"/>
              <a:t>integrate your brand into the whole cinema experience.</a:t>
            </a:r>
          </a:p>
          <a:p>
            <a:pPr marL="171450" indent="-171450">
              <a:lnSpc>
                <a:spcPct val="110000"/>
              </a:lnSpc>
              <a:buClrTx/>
              <a:buFont typeface="Lucida Grande"/>
              <a:buChar char="-"/>
            </a:pPr>
            <a:endParaRPr lang="en-GB" dirty="0"/>
          </a:p>
          <a:p>
            <a:pPr>
              <a:lnSpc>
                <a:spcPct val="110000"/>
              </a:lnSpc>
            </a:pPr>
            <a:endParaRPr lang="en-GB" dirty="0"/>
          </a:p>
        </p:txBody>
      </p:sp>
      <p:pic>
        <p:nvPicPr>
          <p:cNvPr id="8" name="Picture Placeholder 7" descr="cineworld-logo.pn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21" t="-20984" r="-2121" b="-20984"/>
          <a:stretch/>
        </p:blipFill>
        <p:spPr/>
      </p:pic>
      <p:sp>
        <p:nvSpPr>
          <p:cNvPr id="5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6322979" y="7071063"/>
            <a:ext cx="3467888" cy="342258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en-US" sz="700" b="0" dirty="0">
                <a:solidFill>
                  <a:schemeClr val="bg1"/>
                </a:solidFill>
              </a:rPr>
              <a:t>Source: *Online ticket is £1 when you join </a:t>
            </a:r>
            <a:r>
              <a:rPr lang="en-US" sz="700" b="0" dirty="0" err="1">
                <a:solidFill>
                  <a:schemeClr val="bg1"/>
                </a:solidFill>
              </a:rPr>
              <a:t>Mycineworld</a:t>
            </a:r>
            <a:r>
              <a:rPr lang="en-US" sz="700" b="0" dirty="0">
                <a:solidFill>
                  <a:schemeClr val="bg1"/>
                </a:solidFill>
              </a:rPr>
              <a:t>. Ticket price is £1.50 when ticket is purchased in cinema.</a:t>
            </a:r>
            <a:endParaRPr lang="en-US" sz="700" b="0" dirty="0"/>
          </a:p>
        </p:txBody>
      </p:sp>
      <p:sp>
        <p:nvSpPr>
          <p:cNvPr id="56" name="Freeform 125"/>
          <p:cNvSpPr>
            <a:spLocks noChangeAspect="1" noEditPoints="1"/>
          </p:cNvSpPr>
          <p:nvPr/>
        </p:nvSpPr>
        <p:spPr bwMode="auto">
          <a:xfrm>
            <a:off x="5287526" y="4406282"/>
            <a:ext cx="838818" cy="838818"/>
          </a:xfrm>
          <a:custGeom>
            <a:avLst/>
            <a:gdLst/>
            <a:ahLst/>
            <a:cxnLst>
              <a:cxn ang="0">
                <a:pos x="222" y="28"/>
              </a:cxn>
              <a:cxn ang="0">
                <a:pos x="62" y="160"/>
              </a:cxn>
              <a:cxn ang="0">
                <a:pos x="0" y="362"/>
              </a:cxn>
              <a:cxn ang="0">
                <a:pos x="44" y="536"/>
              </a:cxn>
              <a:cxn ang="0">
                <a:pos x="190" y="682"/>
              </a:cxn>
              <a:cxn ang="0">
                <a:pos x="364" y="726"/>
              </a:cxn>
              <a:cxn ang="0">
                <a:pos x="566" y="664"/>
              </a:cxn>
              <a:cxn ang="0">
                <a:pos x="682" y="536"/>
              </a:cxn>
              <a:cxn ang="0">
                <a:pos x="726" y="362"/>
              </a:cxn>
              <a:cxn ang="0">
                <a:pos x="664" y="160"/>
              </a:cxn>
              <a:cxn ang="0">
                <a:pos x="504" y="28"/>
              </a:cxn>
              <a:cxn ang="0">
                <a:pos x="528" y="510"/>
              </a:cxn>
              <a:cxn ang="0">
                <a:pos x="452" y="470"/>
              </a:cxn>
              <a:cxn ang="0">
                <a:pos x="298" y="428"/>
              </a:cxn>
              <a:cxn ang="0">
                <a:pos x="214" y="512"/>
              </a:cxn>
              <a:cxn ang="0">
                <a:pos x="176" y="498"/>
              </a:cxn>
              <a:cxn ang="0">
                <a:pos x="148" y="370"/>
              </a:cxn>
              <a:cxn ang="0">
                <a:pos x="158" y="292"/>
              </a:cxn>
              <a:cxn ang="0">
                <a:pos x="238" y="240"/>
              </a:cxn>
              <a:cxn ang="0">
                <a:pos x="290" y="258"/>
              </a:cxn>
              <a:cxn ang="0">
                <a:pos x="338" y="210"/>
              </a:cxn>
              <a:cxn ang="0">
                <a:pos x="352" y="154"/>
              </a:cxn>
              <a:cxn ang="0">
                <a:pos x="370" y="116"/>
              </a:cxn>
              <a:cxn ang="0">
                <a:pos x="390" y="124"/>
              </a:cxn>
              <a:cxn ang="0">
                <a:pos x="374" y="166"/>
              </a:cxn>
              <a:cxn ang="0">
                <a:pos x="364" y="222"/>
              </a:cxn>
              <a:cxn ang="0">
                <a:pos x="436" y="258"/>
              </a:cxn>
              <a:cxn ang="0">
                <a:pos x="506" y="242"/>
              </a:cxn>
              <a:cxn ang="0">
                <a:pos x="572" y="310"/>
              </a:cxn>
              <a:cxn ang="0">
                <a:pos x="580" y="400"/>
              </a:cxn>
              <a:cxn ang="0">
                <a:pos x="542" y="504"/>
              </a:cxn>
              <a:cxn ang="0">
                <a:pos x="252" y="292"/>
              </a:cxn>
              <a:cxn ang="0">
                <a:pos x="234" y="280"/>
              </a:cxn>
              <a:cxn ang="0">
                <a:pos x="206" y="312"/>
              </a:cxn>
              <a:cxn ang="0">
                <a:pos x="194" y="330"/>
              </a:cxn>
              <a:cxn ang="0">
                <a:pos x="226" y="356"/>
              </a:cxn>
              <a:cxn ang="0">
                <a:pos x="244" y="368"/>
              </a:cxn>
              <a:cxn ang="0">
                <a:pos x="270" y="338"/>
              </a:cxn>
              <a:cxn ang="0">
                <a:pos x="282" y="320"/>
              </a:cxn>
              <a:cxn ang="0">
                <a:pos x="516" y="310"/>
              </a:cxn>
              <a:cxn ang="0">
                <a:pos x="512" y="336"/>
              </a:cxn>
              <a:cxn ang="0">
                <a:pos x="538" y="330"/>
              </a:cxn>
              <a:cxn ang="0">
                <a:pos x="524" y="308"/>
              </a:cxn>
              <a:cxn ang="0">
                <a:pos x="442" y="324"/>
              </a:cxn>
              <a:cxn ang="0">
                <a:pos x="458" y="340"/>
              </a:cxn>
              <a:cxn ang="0">
                <a:pos x="472" y="318"/>
              </a:cxn>
              <a:cxn ang="0">
                <a:pos x="484" y="342"/>
              </a:cxn>
              <a:cxn ang="0">
                <a:pos x="478" y="368"/>
              </a:cxn>
              <a:cxn ang="0">
                <a:pos x="506" y="364"/>
              </a:cxn>
              <a:cxn ang="0">
                <a:pos x="490" y="340"/>
              </a:cxn>
              <a:cxn ang="0">
                <a:pos x="506" y="292"/>
              </a:cxn>
              <a:cxn ang="0">
                <a:pos x="490" y="276"/>
              </a:cxn>
              <a:cxn ang="0">
                <a:pos x="476" y="29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38"/>
                </a:lnTo>
                <a:lnTo>
                  <a:pt x="152" y="326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290" y="258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26"/>
                </a:lnTo>
                <a:lnTo>
                  <a:pt x="574" y="338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8" name="Freeform 253"/>
          <p:cNvSpPr>
            <a:spLocks noChangeAspect="1" noEditPoints="1"/>
          </p:cNvSpPr>
          <p:nvPr/>
        </p:nvSpPr>
        <p:spPr bwMode="auto">
          <a:xfrm>
            <a:off x="6306919" y="2217590"/>
            <a:ext cx="838818" cy="838818"/>
          </a:xfrm>
          <a:custGeom>
            <a:avLst/>
            <a:gdLst/>
            <a:ahLst/>
            <a:cxnLst>
              <a:cxn ang="0">
                <a:pos x="256" y="16"/>
              </a:cxn>
              <a:cxn ang="0">
                <a:pos x="106" y="106"/>
              </a:cxn>
              <a:cxn ang="0">
                <a:pos x="16" y="254"/>
              </a:cxn>
              <a:cxn ang="0">
                <a:pos x="2" y="400"/>
              </a:cxn>
              <a:cxn ang="0">
                <a:pos x="62" y="566"/>
              </a:cxn>
              <a:cxn ang="0">
                <a:pos x="190" y="682"/>
              </a:cxn>
              <a:cxn ang="0">
                <a:pos x="364" y="726"/>
              </a:cxn>
              <a:cxn ang="0">
                <a:pos x="504" y="698"/>
              </a:cxn>
              <a:cxn ang="0">
                <a:pos x="644" y="594"/>
              </a:cxn>
              <a:cxn ang="0">
                <a:pos x="718" y="436"/>
              </a:cxn>
              <a:cxn ang="0">
                <a:pos x="718" y="290"/>
              </a:cxn>
              <a:cxn ang="0">
                <a:pos x="644" y="132"/>
              </a:cxn>
              <a:cxn ang="0">
                <a:pos x="504" y="28"/>
              </a:cxn>
              <a:cxn ang="0">
                <a:pos x="558" y="206"/>
              </a:cxn>
              <a:cxn ang="0">
                <a:pos x="566" y="234"/>
              </a:cxn>
              <a:cxn ang="0">
                <a:pos x="576" y="244"/>
              </a:cxn>
              <a:cxn ang="0">
                <a:pos x="590" y="278"/>
              </a:cxn>
              <a:cxn ang="0">
                <a:pos x="564" y="268"/>
              </a:cxn>
              <a:cxn ang="0">
                <a:pos x="532" y="220"/>
              </a:cxn>
              <a:cxn ang="0">
                <a:pos x="124" y="206"/>
              </a:cxn>
              <a:cxn ang="0">
                <a:pos x="150" y="224"/>
              </a:cxn>
              <a:cxn ang="0">
                <a:pos x="124" y="238"/>
              </a:cxn>
              <a:cxn ang="0">
                <a:pos x="124" y="252"/>
              </a:cxn>
              <a:cxn ang="0">
                <a:pos x="160" y="234"/>
              </a:cxn>
              <a:cxn ang="0">
                <a:pos x="196" y="206"/>
              </a:cxn>
              <a:cxn ang="0">
                <a:pos x="192" y="234"/>
              </a:cxn>
              <a:cxn ang="0">
                <a:pos x="150" y="274"/>
              </a:cxn>
              <a:cxn ang="0">
                <a:pos x="604" y="428"/>
              </a:cxn>
              <a:cxn ang="0">
                <a:pos x="578" y="336"/>
              </a:cxn>
              <a:cxn ang="0">
                <a:pos x="576" y="370"/>
              </a:cxn>
              <a:cxn ang="0">
                <a:pos x="586" y="414"/>
              </a:cxn>
              <a:cxn ang="0">
                <a:pos x="604" y="502"/>
              </a:cxn>
              <a:cxn ang="0">
                <a:pos x="576" y="464"/>
              </a:cxn>
              <a:cxn ang="0">
                <a:pos x="550" y="366"/>
              </a:cxn>
              <a:cxn ang="0">
                <a:pos x="562" y="470"/>
              </a:cxn>
              <a:cxn ang="0">
                <a:pos x="134" y="520"/>
              </a:cxn>
              <a:cxn ang="0">
                <a:pos x="164" y="470"/>
              </a:cxn>
              <a:cxn ang="0">
                <a:pos x="178" y="366"/>
              </a:cxn>
              <a:cxn ang="0">
                <a:pos x="150" y="464"/>
              </a:cxn>
              <a:cxn ang="0">
                <a:pos x="124" y="456"/>
              </a:cxn>
              <a:cxn ang="0">
                <a:pos x="150" y="370"/>
              </a:cxn>
              <a:cxn ang="0">
                <a:pos x="150" y="336"/>
              </a:cxn>
              <a:cxn ang="0">
                <a:pos x="124" y="428"/>
              </a:cxn>
              <a:cxn ang="0">
                <a:pos x="148" y="290"/>
              </a:cxn>
              <a:cxn ang="0">
                <a:pos x="150" y="290"/>
              </a:cxn>
              <a:cxn ang="0">
                <a:pos x="184" y="268"/>
              </a:cxn>
              <a:cxn ang="0">
                <a:pos x="210" y="220"/>
              </a:cxn>
              <a:cxn ang="0">
                <a:pos x="238" y="206"/>
              </a:cxn>
              <a:cxn ang="0">
                <a:pos x="516" y="206"/>
              </a:cxn>
              <a:cxn ang="0">
                <a:pos x="526" y="246"/>
              </a:cxn>
              <a:cxn ang="0">
                <a:pos x="562" y="282"/>
              </a:cxn>
              <a:cxn ang="0">
                <a:pos x="576" y="290"/>
              </a:cxn>
              <a:cxn ang="0">
                <a:pos x="588" y="292"/>
              </a:cxn>
              <a:cxn ang="0">
                <a:pos x="604" y="320"/>
              </a:cxn>
              <a:cxn ang="0">
                <a:pos x="592" y="236"/>
              </a:cxn>
              <a:cxn ang="0">
                <a:pos x="572" y="212"/>
              </a:cxn>
              <a:cxn ang="0">
                <a:pos x="540" y="302"/>
              </a:cxn>
              <a:cxn ang="0">
                <a:pos x="234" y="234"/>
              </a:cxn>
              <a:cxn ang="0">
                <a:pos x="186" y="302"/>
              </a:cxn>
              <a:cxn ang="0">
                <a:pos x="206" y="394"/>
              </a:cxn>
              <a:cxn ang="0">
                <a:pos x="184" y="492"/>
              </a:cxn>
              <a:cxn ang="0">
                <a:pos x="522" y="420"/>
              </a:cxn>
              <a:cxn ang="0">
                <a:pos x="532" y="32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30" y="206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70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8" y="336"/>
                </a:lnTo>
                <a:lnTo>
                  <a:pt x="576" y="344"/>
                </a:lnTo>
                <a:lnTo>
                  <a:pt x="576" y="344"/>
                </a:lnTo>
                <a:lnTo>
                  <a:pt x="576" y="344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456"/>
                </a:lnTo>
                <a:lnTo>
                  <a:pt x="604" y="502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50" y="366"/>
                </a:lnTo>
                <a:lnTo>
                  <a:pt x="548" y="394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80" y="394"/>
                </a:lnTo>
                <a:lnTo>
                  <a:pt x="178" y="366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70"/>
                </a:lnTo>
                <a:lnTo>
                  <a:pt x="150" y="356"/>
                </a:lnTo>
                <a:lnTo>
                  <a:pt x="150" y="356"/>
                </a:lnTo>
                <a:lnTo>
                  <a:pt x="150" y="344"/>
                </a:lnTo>
                <a:lnTo>
                  <a:pt x="150" y="344"/>
                </a:lnTo>
                <a:lnTo>
                  <a:pt x="150" y="336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24" y="294"/>
                </a:lnTo>
                <a:lnTo>
                  <a:pt x="140" y="292"/>
                </a:lnTo>
                <a:lnTo>
                  <a:pt x="140" y="292"/>
                </a:lnTo>
                <a:lnTo>
                  <a:pt x="148" y="290"/>
                </a:lnTo>
                <a:lnTo>
                  <a:pt x="148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50" y="290"/>
                </a:lnTo>
                <a:lnTo>
                  <a:pt x="166" y="282"/>
                </a:lnTo>
                <a:lnTo>
                  <a:pt x="166" y="282"/>
                </a:lnTo>
                <a:lnTo>
                  <a:pt x="174" y="278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10" y="206"/>
                </a:lnTo>
                <a:lnTo>
                  <a:pt x="210" y="206"/>
                </a:lnTo>
                <a:lnTo>
                  <a:pt x="238" y="206"/>
                </a:lnTo>
                <a:lnTo>
                  <a:pt x="238" y="206"/>
                </a:lnTo>
                <a:lnTo>
                  <a:pt x="490" y="206"/>
                </a:lnTo>
                <a:lnTo>
                  <a:pt x="490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54" y="278"/>
                </a:lnTo>
                <a:lnTo>
                  <a:pt x="562" y="282"/>
                </a:lnTo>
                <a:lnTo>
                  <a:pt x="562" y="282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6" y="290"/>
                </a:lnTo>
                <a:lnTo>
                  <a:pt x="578" y="290"/>
                </a:lnTo>
                <a:lnTo>
                  <a:pt x="578" y="290"/>
                </a:lnTo>
                <a:lnTo>
                  <a:pt x="580" y="290"/>
                </a:lnTo>
                <a:lnTo>
                  <a:pt x="580" y="290"/>
                </a:lnTo>
                <a:lnTo>
                  <a:pt x="588" y="292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320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9" name="Freeform 261"/>
          <p:cNvSpPr>
            <a:spLocks noChangeAspect="1" noEditPoints="1"/>
          </p:cNvSpPr>
          <p:nvPr/>
        </p:nvSpPr>
        <p:spPr bwMode="auto">
          <a:xfrm>
            <a:off x="7345172" y="4406282"/>
            <a:ext cx="838818" cy="838818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4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6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82" y="586"/>
              </a:cxn>
              <a:cxn ang="0">
                <a:pos x="480" y="590"/>
              </a:cxn>
              <a:cxn ang="0">
                <a:pos x="252" y="592"/>
              </a:cxn>
              <a:cxn ang="0">
                <a:pos x="248" y="590"/>
              </a:cxn>
              <a:cxn ang="0">
                <a:pos x="246" y="530"/>
              </a:cxn>
              <a:cxn ang="0">
                <a:pos x="248" y="526"/>
              </a:cxn>
              <a:cxn ang="0">
                <a:pos x="476" y="524"/>
              </a:cxn>
              <a:cxn ang="0">
                <a:pos x="480" y="526"/>
              </a:cxn>
              <a:cxn ang="0">
                <a:pos x="482" y="586"/>
              </a:cxn>
              <a:cxn ang="0">
                <a:pos x="504" y="486"/>
              </a:cxn>
              <a:cxn ang="0">
                <a:pos x="500" y="500"/>
              </a:cxn>
              <a:cxn ang="0">
                <a:pos x="486" y="504"/>
              </a:cxn>
              <a:cxn ang="0">
                <a:pos x="242" y="504"/>
              </a:cxn>
              <a:cxn ang="0">
                <a:pos x="228" y="500"/>
              </a:cxn>
              <a:cxn ang="0">
                <a:pos x="224" y="486"/>
              </a:cxn>
              <a:cxn ang="0">
                <a:pos x="224" y="146"/>
              </a:cxn>
              <a:cxn ang="0">
                <a:pos x="228" y="134"/>
              </a:cxn>
              <a:cxn ang="0">
                <a:pos x="242" y="128"/>
              </a:cxn>
              <a:cxn ang="0">
                <a:pos x="486" y="128"/>
              </a:cxn>
              <a:cxn ang="0">
                <a:pos x="500" y="134"/>
              </a:cxn>
              <a:cxn ang="0">
                <a:pos x="504" y="146"/>
              </a:cxn>
              <a:cxn ang="0">
                <a:pos x="260" y="468"/>
              </a:cxn>
              <a:cxn ang="0">
                <a:pos x="468" y="166"/>
              </a:cxn>
              <a:cxn ang="0">
                <a:pos x="260" y="468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" name="Freeform 106"/>
          <p:cNvSpPr>
            <a:spLocks noChangeAspect="1" noEditPoints="1"/>
          </p:cNvSpPr>
          <p:nvPr/>
        </p:nvSpPr>
        <p:spPr bwMode="auto">
          <a:xfrm>
            <a:off x="5063784" y="2814799"/>
            <a:ext cx="838820" cy="838820"/>
          </a:xfrm>
          <a:custGeom>
            <a:avLst/>
            <a:gdLst/>
            <a:ahLst/>
            <a:cxnLst>
              <a:cxn ang="0">
                <a:pos x="326" y="2"/>
              </a:cxn>
              <a:cxn ang="0">
                <a:pos x="220" y="28"/>
              </a:cxn>
              <a:cxn ang="0">
                <a:pos x="132" y="82"/>
              </a:cxn>
              <a:cxn ang="0">
                <a:pos x="62" y="160"/>
              </a:cxn>
              <a:cxn ang="0">
                <a:pos x="16" y="254"/>
              </a:cxn>
              <a:cxn ang="0">
                <a:pos x="0" y="362"/>
              </a:cxn>
              <a:cxn ang="0">
                <a:pos x="6" y="436"/>
              </a:cxn>
              <a:cxn ang="0">
                <a:pos x="44" y="536"/>
              </a:cxn>
              <a:cxn ang="0">
                <a:pos x="106" y="620"/>
              </a:cxn>
              <a:cxn ang="0">
                <a:pos x="190" y="682"/>
              </a:cxn>
              <a:cxn ang="0">
                <a:pos x="288" y="718"/>
              </a:cxn>
              <a:cxn ang="0">
                <a:pos x="362" y="726"/>
              </a:cxn>
              <a:cxn ang="0">
                <a:pos x="470" y="710"/>
              </a:cxn>
              <a:cxn ang="0">
                <a:pos x="564" y="664"/>
              </a:cxn>
              <a:cxn ang="0">
                <a:pos x="642" y="594"/>
              </a:cxn>
              <a:cxn ang="0">
                <a:pos x="696" y="504"/>
              </a:cxn>
              <a:cxn ang="0">
                <a:pos x="724" y="400"/>
              </a:cxn>
              <a:cxn ang="0">
                <a:pos x="724" y="326"/>
              </a:cxn>
              <a:cxn ang="0">
                <a:pos x="696" y="222"/>
              </a:cxn>
              <a:cxn ang="0">
                <a:pos x="642" y="132"/>
              </a:cxn>
              <a:cxn ang="0">
                <a:pos x="564" y="62"/>
              </a:cxn>
              <a:cxn ang="0">
                <a:pos x="470" y="16"/>
              </a:cxn>
              <a:cxn ang="0">
                <a:pos x="362" y="0"/>
              </a:cxn>
              <a:cxn ang="0">
                <a:pos x="152" y="312"/>
              </a:cxn>
              <a:cxn ang="0">
                <a:pos x="558" y="348"/>
              </a:cxn>
              <a:cxn ang="0">
                <a:pos x="562" y="364"/>
              </a:cxn>
              <a:cxn ang="0">
                <a:pos x="556" y="382"/>
              </a:cxn>
              <a:cxn ang="0">
                <a:pos x="542" y="396"/>
              </a:cxn>
              <a:cxn ang="0">
                <a:pos x="546" y="410"/>
              </a:cxn>
              <a:cxn ang="0">
                <a:pos x="534" y="436"/>
              </a:cxn>
              <a:cxn ang="0">
                <a:pos x="528" y="450"/>
              </a:cxn>
              <a:cxn ang="0">
                <a:pos x="530" y="464"/>
              </a:cxn>
              <a:cxn ang="0">
                <a:pos x="520" y="482"/>
              </a:cxn>
              <a:cxn ang="0">
                <a:pos x="502" y="492"/>
              </a:cxn>
              <a:cxn ang="0">
                <a:pos x="364" y="494"/>
              </a:cxn>
              <a:cxn ang="0">
                <a:pos x="336" y="482"/>
              </a:cxn>
              <a:cxn ang="0">
                <a:pos x="312" y="472"/>
              </a:cxn>
              <a:cxn ang="0">
                <a:pos x="294" y="312"/>
              </a:cxn>
              <a:cxn ang="0">
                <a:pos x="378" y="184"/>
              </a:cxn>
              <a:cxn ang="0">
                <a:pos x="380" y="170"/>
              </a:cxn>
              <a:cxn ang="0">
                <a:pos x="394" y="154"/>
              </a:cxn>
              <a:cxn ang="0">
                <a:pos x="414" y="148"/>
              </a:cxn>
              <a:cxn ang="0">
                <a:pos x="428" y="150"/>
              </a:cxn>
              <a:cxn ang="0">
                <a:pos x="444" y="164"/>
              </a:cxn>
              <a:cxn ang="0">
                <a:pos x="450" y="184"/>
              </a:cxn>
              <a:cxn ang="0">
                <a:pos x="540" y="280"/>
              </a:cxn>
              <a:cxn ang="0">
                <a:pos x="554" y="284"/>
              </a:cxn>
              <a:cxn ang="0">
                <a:pos x="570" y="296"/>
              </a:cxn>
              <a:cxn ang="0">
                <a:pos x="576" y="318"/>
              </a:cxn>
              <a:cxn ang="0">
                <a:pos x="572" y="336"/>
              </a:cxn>
              <a:cxn ang="0">
                <a:pos x="232" y="478"/>
              </a:cxn>
              <a:cxn ang="0">
                <a:pos x="240" y="474"/>
              </a:cxn>
              <a:cxn ang="0">
                <a:pos x="244" y="464"/>
              </a:cxn>
              <a:cxn ang="0">
                <a:pos x="236" y="452"/>
              </a:cxn>
              <a:cxn ang="0">
                <a:pos x="226" y="452"/>
              </a:cxn>
              <a:cxn ang="0">
                <a:pos x="218" y="464"/>
              </a:cxn>
              <a:cxn ang="0">
                <a:pos x="222" y="474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8540110" y="2686489"/>
            <a:ext cx="800828" cy="256620"/>
          </a:xfrm>
        </p:spPr>
        <p:txBody>
          <a:bodyPr/>
          <a:lstStyle/>
          <a:p>
            <a:r>
              <a:rPr lang="en-US" dirty="0"/>
              <a:t>Online</a:t>
            </a:r>
          </a:p>
        </p:txBody>
      </p:sp>
      <p:sp>
        <p:nvSpPr>
          <p:cNvPr id="62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3993505" y="4694170"/>
            <a:ext cx="1290667" cy="256620"/>
          </a:xfrm>
        </p:spPr>
        <p:txBody>
          <a:bodyPr/>
          <a:lstStyle/>
          <a:p>
            <a:r>
              <a:rPr lang="en-US" dirty="0"/>
              <a:t>Experiential</a:t>
            </a:r>
          </a:p>
        </p:txBody>
      </p:sp>
      <p:sp>
        <p:nvSpPr>
          <p:cNvPr id="6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8480971" y="4694170"/>
            <a:ext cx="870221" cy="256620"/>
          </a:xfrm>
        </p:spPr>
        <p:txBody>
          <a:bodyPr/>
          <a:lstStyle/>
          <a:p>
            <a:r>
              <a:rPr lang="en-US" dirty="0"/>
              <a:t>Posters</a:t>
            </a:r>
          </a:p>
        </p:txBody>
      </p:sp>
      <p:sp>
        <p:nvSpPr>
          <p:cNvPr id="66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6225452" y="1863879"/>
            <a:ext cx="1039732" cy="305121"/>
          </a:xfrm>
        </p:spPr>
        <p:txBody>
          <a:bodyPr/>
          <a:lstStyle/>
          <a:p>
            <a:pPr algn="ctr"/>
            <a:r>
              <a:rPr lang="en-US" dirty="0"/>
              <a:t>On Screen</a:t>
            </a:r>
          </a:p>
        </p:txBody>
      </p:sp>
      <p:sp>
        <p:nvSpPr>
          <p:cNvPr id="68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4340678" y="2686489"/>
            <a:ext cx="723106" cy="256620"/>
          </a:xfrm>
        </p:spPr>
        <p:txBody>
          <a:bodyPr/>
          <a:lstStyle/>
          <a:p>
            <a:r>
              <a:rPr lang="en-US" dirty="0"/>
              <a:t>Social</a:t>
            </a:r>
          </a:p>
        </p:txBody>
      </p:sp>
      <p:sp>
        <p:nvSpPr>
          <p:cNvPr id="72" name="Freeform 163"/>
          <p:cNvSpPr>
            <a:spLocks noChangeAspect="1" noEditPoints="1"/>
          </p:cNvSpPr>
          <p:nvPr/>
        </p:nvSpPr>
        <p:spPr bwMode="auto">
          <a:xfrm>
            <a:off x="7568696" y="2805491"/>
            <a:ext cx="838818" cy="838818"/>
          </a:xfrm>
          <a:custGeom>
            <a:avLst/>
            <a:gdLst/>
            <a:ahLst/>
            <a:cxnLst>
              <a:cxn ang="0">
                <a:pos x="364" y="0"/>
              </a:cxn>
              <a:cxn ang="0">
                <a:pos x="290" y="8"/>
              </a:cxn>
              <a:cxn ang="0">
                <a:pos x="222" y="28"/>
              </a:cxn>
              <a:cxn ang="0">
                <a:pos x="160" y="62"/>
              </a:cxn>
              <a:cxn ang="0">
                <a:pos x="108" y="106"/>
              </a:cxn>
              <a:cxn ang="0">
                <a:pos x="62" y="160"/>
              </a:cxn>
              <a:cxn ang="0">
                <a:pos x="30" y="222"/>
              </a:cxn>
              <a:cxn ang="0">
                <a:pos x="8" y="290"/>
              </a:cxn>
              <a:cxn ang="0">
                <a:pos x="0" y="362"/>
              </a:cxn>
              <a:cxn ang="0">
                <a:pos x="2" y="400"/>
              </a:cxn>
              <a:cxn ang="0">
                <a:pos x="18" y="470"/>
              </a:cxn>
              <a:cxn ang="0">
                <a:pos x="44" y="536"/>
              </a:cxn>
              <a:cxn ang="0">
                <a:pos x="84" y="594"/>
              </a:cxn>
              <a:cxn ang="0">
                <a:pos x="132" y="642"/>
              </a:cxn>
              <a:cxn ang="0">
                <a:pos x="190" y="682"/>
              </a:cxn>
              <a:cxn ang="0">
                <a:pos x="256" y="710"/>
              </a:cxn>
              <a:cxn ang="0">
                <a:pos x="326" y="724"/>
              </a:cxn>
              <a:cxn ang="0">
                <a:pos x="364" y="726"/>
              </a:cxn>
              <a:cxn ang="0">
                <a:pos x="436" y="718"/>
              </a:cxn>
              <a:cxn ang="0">
                <a:pos x="504" y="698"/>
              </a:cxn>
              <a:cxn ang="0">
                <a:pos x="566" y="664"/>
              </a:cxn>
              <a:cxn ang="0">
                <a:pos x="620" y="620"/>
              </a:cxn>
              <a:cxn ang="0">
                <a:pos x="664" y="566"/>
              </a:cxn>
              <a:cxn ang="0">
                <a:pos x="698" y="504"/>
              </a:cxn>
              <a:cxn ang="0">
                <a:pos x="720" y="436"/>
              </a:cxn>
              <a:cxn ang="0">
                <a:pos x="726" y="362"/>
              </a:cxn>
              <a:cxn ang="0">
                <a:pos x="724" y="326"/>
              </a:cxn>
              <a:cxn ang="0">
                <a:pos x="710" y="254"/>
              </a:cxn>
              <a:cxn ang="0">
                <a:pos x="682" y="190"/>
              </a:cxn>
              <a:cxn ang="0">
                <a:pos x="644" y="132"/>
              </a:cxn>
              <a:cxn ang="0">
                <a:pos x="594" y="82"/>
              </a:cxn>
              <a:cxn ang="0">
                <a:pos x="536" y="44"/>
              </a:cxn>
              <a:cxn ang="0">
                <a:pos x="472" y="16"/>
              </a:cxn>
              <a:cxn ang="0">
                <a:pos x="400" y="2"/>
              </a:cxn>
              <a:cxn ang="0">
                <a:pos x="462" y="532"/>
              </a:cxn>
              <a:cxn ang="0">
                <a:pos x="348" y="426"/>
              </a:cxn>
              <a:cxn ang="0">
                <a:pos x="268" y="172"/>
              </a:cxn>
              <a:cxn ang="0">
                <a:pos x="404" y="402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3" name="Rectangle 72"/>
          <p:cNvSpPr/>
          <p:nvPr/>
        </p:nvSpPr>
        <p:spPr>
          <a:xfrm>
            <a:off x="3721101" y="5578427"/>
            <a:ext cx="5958332" cy="7234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873500" y="5585416"/>
            <a:ext cx="558482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800" b="1" dirty="0">
                <a:solidFill>
                  <a:srgbClr val="FFFFFF"/>
                </a:solidFill>
              </a:rPr>
              <a:t>Redefine ‘family fun’ with great movies </a:t>
            </a:r>
          </a:p>
          <a:p>
            <a:pPr algn="r"/>
            <a:r>
              <a:rPr lang="en-US" sz="1800" b="1" dirty="0">
                <a:solidFill>
                  <a:srgbClr val="FFFFFF"/>
                </a:solidFill>
              </a:rPr>
              <a:t>and messages for kids and grown-ups alike!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6725987" y="3066280"/>
            <a:ext cx="0" cy="384329"/>
          </a:xfrm>
          <a:prstGeom prst="line">
            <a:avLst/>
          </a:prstGeom>
          <a:ln w="19050" cmpd="sng"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H="1">
            <a:off x="7302499" y="3467320"/>
            <a:ext cx="359277" cy="200519"/>
          </a:xfrm>
          <a:prstGeom prst="line">
            <a:avLst/>
          </a:prstGeom>
          <a:ln w="19050" cmpd="sng"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H="1" flipV="1">
            <a:off x="5840329" y="3442254"/>
            <a:ext cx="401954" cy="264430"/>
          </a:xfrm>
          <a:prstGeom prst="line">
            <a:avLst/>
          </a:prstGeom>
          <a:ln w="19050" cmpd="sng"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6024145" y="4277753"/>
            <a:ext cx="292434" cy="267359"/>
          </a:xfrm>
          <a:prstGeom prst="line">
            <a:avLst/>
          </a:prstGeom>
          <a:ln w="19050" cmpd="sng"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H="1" flipV="1">
            <a:off x="7118685" y="4252688"/>
            <a:ext cx="375986" cy="317490"/>
          </a:xfrm>
          <a:prstGeom prst="line">
            <a:avLst/>
          </a:prstGeom>
          <a:ln w="19050" cmpd="sng"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ovies for juniors logo.psd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18" r="13582"/>
          <a:stretch/>
        </p:blipFill>
        <p:spPr>
          <a:xfrm>
            <a:off x="6098380" y="3223838"/>
            <a:ext cx="1246791" cy="1298954"/>
          </a:xfrm>
          <a:prstGeom prst="rect">
            <a:avLst/>
          </a:prstGeom>
        </p:spPr>
      </p:pic>
      <p:sp>
        <p:nvSpPr>
          <p:cNvPr id="71" name="Freeform 121"/>
          <p:cNvSpPr>
            <a:spLocks noChangeAspect="1"/>
          </p:cNvSpPr>
          <p:nvPr/>
        </p:nvSpPr>
        <p:spPr bwMode="auto">
          <a:xfrm>
            <a:off x="733133" y="1102562"/>
            <a:ext cx="396000" cy="396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ineworld</a:t>
            </a:r>
            <a:r>
              <a:rPr lang="en-US" dirty="0"/>
              <a:t>: Movies for junior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Reach a valuable parent and child audience</a:t>
            </a:r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266000" y="1301903"/>
            <a:ext cx="4079261" cy="344487"/>
          </a:xfrm>
        </p:spPr>
        <p:txBody>
          <a:bodyPr/>
          <a:lstStyle/>
          <a:p>
            <a:r>
              <a:rPr lang="en-US" dirty="0"/>
              <a:t>Investment</a:t>
            </a:r>
          </a:p>
        </p:txBody>
      </p:sp>
      <p:pic>
        <p:nvPicPr>
          <p:cNvPr id="7" name="Picture Placeholder 6" descr="cineworld-logo.png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21" t="-20984" r="-2121" b="-20984"/>
          <a:stretch/>
        </p:blipFill>
        <p:spPr/>
      </p:pic>
      <p:sp>
        <p:nvSpPr>
          <p:cNvPr id="2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3771533" y="5969656"/>
            <a:ext cx="1629142" cy="344487"/>
          </a:xfrm>
        </p:spPr>
        <p:txBody>
          <a:bodyPr/>
          <a:lstStyle/>
          <a:p>
            <a:r>
              <a:rPr lang="en-US" sz="1100" dirty="0">
                <a:solidFill>
                  <a:schemeClr val="accent2"/>
                </a:solidFill>
              </a:rPr>
              <a:t>£365,000 gross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4623433" y="6869927"/>
            <a:ext cx="5151605" cy="59514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 * Includes initial production and delivery, then one copy change/refresh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ll activity is subject to prior approval by Cineworld and restricted by availability.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Source: 1&amp;3: FAME 2013 (BASE 11+). Targets adults who went to the cinema with in HH.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2: DCM Movies for Juniors research Q3 2013.</a:t>
            </a:r>
            <a:endParaRPr lang="en-GB" dirty="0">
              <a:solidFill>
                <a:schemeClr val="bg1"/>
              </a:solidFill>
            </a:endParaRPr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2798168"/>
              </p:ext>
            </p:extLst>
          </p:nvPr>
        </p:nvGraphicFramePr>
        <p:xfrm>
          <a:off x="288444" y="1641281"/>
          <a:ext cx="4459047" cy="40925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690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55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344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7032">
                <a:tc>
                  <a:txBody>
                    <a:bodyPr/>
                    <a:lstStyle/>
                    <a:p>
                      <a:pPr algn="l"/>
                      <a:r>
                        <a:rPr lang="en-US" sz="1000" b="1" dirty="0">
                          <a:solidFill>
                            <a:schemeClr val="accent2"/>
                          </a:solidFill>
                        </a:rPr>
                        <a:t>Asset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solidFill>
                            <a:schemeClr val="accent2"/>
                          </a:solidFill>
                        </a:rPr>
                        <a:t>Annual </a:t>
                      </a:r>
                      <a:br>
                        <a:rPr lang="en-US" sz="1000" b="1" dirty="0">
                          <a:solidFill>
                            <a:schemeClr val="accent2"/>
                          </a:solidFill>
                        </a:rPr>
                      </a:br>
                      <a:r>
                        <a:rPr lang="en-US" sz="1000" b="1" dirty="0">
                          <a:solidFill>
                            <a:schemeClr val="accent2"/>
                          </a:solidFill>
                        </a:rPr>
                        <a:t>OTS Estimate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solidFill>
                            <a:schemeClr val="accent2"/>
                          </a:solidFill>
                        </a:rPr>
                        <a:t>Value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Up to 4min premium positioned brand content </a:t>
                      </a:r>
                      <a:r>
                        <a:rPr lang="en-US" sz="900" baseline="0" dirty="0">
                          <a:solidFill>
                            <a:schemeClr val="bg1"/>
                          </a:solidFill>
                        </a:rPr>
                        <a:t>before all Movies for Juniors Screenings. (must include sponsorship ident)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1,79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486,88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30” On-Screen</a:t>
                      </a:r>
                      <a:r>
                        <a:rPr lang="en-US" sz="900" baseline="0" dirty="0">
                          <a:solidFill>
                            <a:schemeClr val="bg1"/>
                          </a:solidFill>
                        </a:rPr>
                        <a:t> trailer with all current release family films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10,00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34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2494">
                <a:tc>
                  <a:txBody>
                    <a:bodyPr/>
                    <a:lstStyle/>
                    <a:p>
                      <a:endParaRPr lang="en-US" sz="900" baseline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5639">
                <a:tc>
                  <a:txBody>
                    <a:bodyPr/>
                    <a:lstStyle/>
                    <a:p>
                      <a:pPr marL="0" marR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>
                          <a:solidFill>
                            <a:schemeClr val="bg1"/>
                          </a:solidFill>
                        </a:rPr>
                        <a:t>Roller banners &amp; tensator cards during ‘Movies for Juniors’ screening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1,788,327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546,000</a:t>
                      </a:r>
                      <a:endParaRPr lang="en-US" sz="800" baseline="-25000" dirty="0">
                        <a:solidFill>
                          <a:schemeClr val="bg1"/>
                        </a:solidFill>
                      </a:endParaRP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Magazine: single page ad x 12 issu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12,00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36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Online: Movies for Juniors landing pag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b="0" dirty="0">
                          <a:solidFill>
                            <a:schemeClr val="bg1"/>
                          </a:solidFill>
                        </a:rPr>
                        <a:t>7,247,7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61844" rtl="0" eaLnBrk="1" latinLnBrk="0" hangingPunct="1"/>
                      <a:r>
                        <a:rPr lang="en-US" sz="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£101,472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Online: Movies for Juniors hero banner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r" defTabSz="961844" rtl="0" eaLnBrk="1" latinLnBrk="0" hangingPunct="1"/>
                      <a:r>
                        <a:rPr lang="en-US" sz="9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754,8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£10,572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Unlimited E-newsletter x 4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76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31,92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MyCineworld E-newsletter x 12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12,000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solidFill>
                            <a:schemeClr val="bg1"/>
                          </a:solidFill>
                        </a:rPr>
                        <a:t>£168,000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33312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80,340,827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£2,909,844</a:t>
                      </a:r>
                    </a:p>
                  </a:txBody>
                  <a:tcPr marL="216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290822" y="5922031"/>
            <a:ext cx="31477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>
                <a:solidFill>
                  <a:srgbClr val="AC162C"/>
                </a:solidFill>
              </a:rPr>
              <a:t>Annual sponsorship </a:t>
            </a:r>
            <a:r>
              <a:rPr lang="en-US" sz="1100" b="1" dirty="0">
                <a:solidFill>
                  <a:srgbClr val="AC162C"/>
                </a:solidFill>
              </a:rPr>
              <a:t>package investment (inclusive of all production hard costs*):</a:t>
            </a:r>
            <a:endParaRPr lang="en-GB" dirty="0"/>
          </a:p>
        </p:txBody>
      </p:sp>
      <p:pic>
        <p:nvPicPr>
          <p:cNvPr id="25" name="Picture 24"/>
          <p:cNvPicPr/>
          <p:nvPr/>
        </p:nvPicPr>
        <p:blipFill rotWithShape="1">
          <a:blip r:embed="rId3"/>
          <a:srcRect l="8185" t="14879" r="11458" b="10887"/>
          <a:stretch/>
        </p:blipFill>
        <p:spPr>
          <a:xfrm>
            <a:off x="5490837" y="3548590"/>
            <a:ext cx="4096531" cy="2838258"/>
          </a:xfrm>
          <a:prstGeom prst="rect">
            <a:avLst/>
          </a:prstGeom>
        </p:spPr>
      </p:pic>
      <p:sp>
        <p:nvSpPr>
          <p:cNvPr id="26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5481491" y="3067324"/>
            <a:ext cx="4079261" cy="344487"/>
          </a:xfrm>
        </p:spPr>
        <p:txBody>
          <a:bodyPr/>
          <a:lstStyle/>
          <a:p>
            <a:r>
              <a:rPr lang="en-US" dirty="0"/>
              <a:t>Family audiences continue to grow strongly</a:t>
            </a:r>
            <a:r>
              <a:rPr lang="en-US" baseline="30000" dirty="0"/>
              <a:t>3</a:t>
            </a:r>
          </a:p>
        </p:txBody>
      </p:sp>
      <p:sp>
        <p:nvSpPr>
          <p:cNvPr id="27" name="Freeform 277"/>
          <p:cNvSpPr>
            <a:spLocks noChangeAspect="1" noEditPoints="1"/>
          </p:cNvSpPr>
          <p:nvPr/>
        </p:nvSpPr>
        <p:spPr bwMode="auto">
          <a:xfrm>
            <a:off x="7792763" y="1941917"/>
            <a:ext cx="718648" cy="721381"/>
          </a:xfrm>
          <a:custGeom>
            <a:avLst/>
            <a:gdLst/>
            <a:ahLst/>
            <a:cxnLst>
              <a:cxn ang="0">
                <a:pos x="190" y="44"/>
              </a:cxn>
              <a:cxn ang="0">
                <a:pos x="28" y="222"/>
              </a:cxn>
              <a:cxn ang="0">
                <a:pos x="8" y="436"/>
              </a:cxn>
              <a:cxn ang="0">
                <a:pos x="132" y="642"/>
              </a:cxn>
              <a:cxn ang="0">
                <a:pos x="364" y="726"/>
              </a:cxn>
              <a:cxn ang="0">
                <a:pos x="566" y="664"/>
              </a:cxn>
              <a:cxn ang="0">
                <a:pos x="710" y="470"/>
              </a:cxn>
              <a:cxn ang="0">
                <a:pos x="710" y="254"/>
              </a:cxn>
              <a:cxn ang="0">
                <a:pos x="566" y="62"/>
              </a:cxn>
              <a:cxn ang="0">
                <a:pos x="296" y="208"/>
              </a:cxn>
              <a:cxn ang="0">
                <a:pos x="334" y="234"/>
              </a:cxn>
              <a:cxn ang="0">
                <a:pos x="326" y="282"/>
              </a:cxn>
              <a:cxn ang="0">
                <a:pos x="278" y="290"/>
              </a:cxn>
              <a:cxn ang="0">
                <a:pos x="252" y="250"/>
              </a:cxn>
              <a:cxn ang="0">
                <a:pos x="286" y="208"/>
              </a:cxn>
              <a:cxn ang="0">
                <a:pos x="196" y="312"/>
              </a:cxn>
              <a:cxn ang="0">
                <a:pos x="180" y="354"/>
              </a:cxn>
              <a:cxn ang="0">
                <a:pos x="140" y="336"/>
              </a:cxn>
              <a:cxn ang="0">
                <a:pos x="156" y="296"/>
              </a:cxn>
              <a:cxn ang="0">
                <a:pos x="194" y="460"/>
              </a:cxn>
              <a:cxn ang="0">
                <a:pos x="184" y="518"/>
              </a:cxn>
              <a:cxn ang="0">
                <a:pos x="164" y="508"/>
              </a:cxn>
              <a:cxn ang="0">
                <a:pos x="150" y="516"/>
              </a:cxn>
              <a:cxn ang="0">
                <a:pos x="124" y="460"/>
              </a:cxn>
              <a:cxn ang="0">
                <a:pos x="162" y="364"/>
              </a:cxn>
              <a:cxn ang="0">
                <a:pos x="218" y="452"/>
              </a:cxn>
              <a:cxn ang="0">
                <a:pos x="342" y="416"/>
              </a:cxn>
              <a:cxn ang="0">
                <a:pos x="318" y="516"/>
              </a:cxn>
              <a:cxn ang="0">
                <a:pos x="304" y="416"/>
              </a:cxn>
              <a:cxn ang="0">
                <a:pos x="278" y="518"/>
              </a:cxn>
              <a:cxn ang="0">
                <a:pos x="252" y="416"/>
              </a:cxn>
              <a:cxn ang="0">
                <a:pos x="242" y="320"/>
              </a:cxn>
              <a:cxn ang="0">
                <a:pos x="338" y="308"/>
              </a:cxn>
              <a:cxn ang="0">
                <a:pos x="350" y="406"/>
              </a:cxn>
              <a:cxn ang="0">
                <a:pos x="598" y="318"/>
              </a:cxn>
              <a:cxn ang="0">
                <a:pos x="574" y="354"/>
              </a:cxn>
              <a:cxn ang="0">
                <a:pos x="538" y="332"/>
              </a:cxn>
              <a:cxn ang="0">
                <a:pos x="562" y="294"/>
              </a:cxn>
              <a:cxn ang="0">
                <a:pos x="470" y="220"/>
              </a:cxn>
              <a:cxn ang="0">
                <a:pos x="480" y="268"/>
              </a:cxn>
              <a:cxn ang="0">
                <a:pos x="440" y="294"/>
              </a:cxn>
              <a:cxn ang="0">
                <a:pos x="398" y="260"/>
              </a:cxn>
              <a:cxn ang="0">
                <a:pos x="416" y="216"/>
              </a:cxn>
              <a:cxn ang="0">
                <a:pos x="494" y="438"/>
              </a:cxn>
              <a:cxn ang="0">
                <a:pos x="458" y="518"/>
              </a:cxn>
              <a:cxn ang="0">
                <a:pos x="434" y="438"/>
              </a:cxn>
              <a:cxn ang="0">
                <a:pos x="422" y="518"/>
              </a:cxn>
              <a:cxn ang="0">
                <a:pos x="386" y="438"/>
              </a:cxn>
              <a:cxn ang="0">
                <a:pos x="430" y="312"/>
              </a:cxn>
              <a:cxn ang="0">
                <a:pos x="504" y="422"/>
              </a:cxn>
              <a:cxn ang="0">
                <a:pos x="606" y="442"/>
              </a:cxn>
              <a:cxn ang="0">
                <a:pos x="590" y="514"/>
              </a:cxn>
              <a:cxn ang="0">
                <a:pos x="574" y="508"/>
              </a:cxn>
              <a:cxn ang="0">
                <a:pos x="558" y="516"/>
              </a:cxn>
              <a:cxn ang="0">
                <a:pos x="544" y="446"/>
              </a:cxn>
              <a:cxn ang="0">
                <a:pos x="528" y="436"/>
              </a:cxn>
              <a:cxn ang="0">
                <a:pos x="538" y="364"/>
              </a:cxn>
              <a:cxn ang="0">
                <a:pos x="610" y="374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AC162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8548398" y="1824167"/>
            <a:ext cx="1319077" cy="11562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3</a:t>
            </a:r>
            <a:r>
              <a:rPr lang="en-US" sz="1600" b="1" dirty="0">
                <a:solidFill>
                  <a:schemeClr val="tx2"/>
                </a:solidFill>
              </a:rPr>
              <a:t> </a:t>
            </a:r>
            <a:r>
              <a:rPr lang="en-US" sz="1000" dirty="0"/>
              <a:t>children per every adult at Kids Club screenings; perfect for utilising ‘pester power</a:t>
            </a:r>
            <a:r>
              <a:rPr lang="en-US" dirty="0"/>
              <a:t>’</a:t>
            </a:r>
            <a:r>
              <a:rPr lang="en-US" baseline="30000" dirty="0"/>
              <a:t>2</a:t>
            </a:r>
            <a:r>
              <a:rPr lang="en-US" dirty="0"/>
              <a:t>.</a:t>
            </a:r>
          </a:p>
        </p:txBody>
      </p:sp>
      <p:sp>
        <p:nvSpPr>
          <p:cNvPr id="31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266236" y="1828231"/>
            <a:ext cx="1416659" cy="13296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600" b="1" dirty="0">
                <a:solidFill>
                  <a:schemeClr val="accent2"/>
                </a:solidFill>
              </a:rPr>
              <a:t>66%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r>
              <a:rPr lang="en-US" sz="1000" dirty="0"/>
              <a:t>of families say “There is no better place to watch films than at the cinema”</a:t>
            </a:r>
            <a:r>
              <a:rPr lang="en-US" baseline="30000" dirty="0"/>
              <a:t>1</a:t>
            </a:r>
            <a:r>
              <a:rPr lang="en-US" dirty="0"/>
              <a:t>.</a:t>
            </a:r>
          </a:p>
        </p:txBody>
      </p:sp>
      <p:sp>
        <p:nvSpPr>
          <p:cNvPr id="32" name="Freeform 214"/>
          <p:cNvSpPr>
            <a:spLocks noChangeAspect="1" noEditPoints="1"/>
          </p:cNvSpPr>
          <p:nvPr/>
        </p:nvSpPr>
        <p:spPr bwMode="auto">
          <a:xfrm>
            <a:off x="5489101" y="1941918"/>
            <a:ext cx="718648" cy="721381"/>
          </a:xfrm>
          <a:custGeom>
            <a:avLst/>
            <a:gdLst/>
            <a:ahLst/>
            <a:cxnLst>
              <a:cxn ang="0">
                <a:pos x="356" y="266"/>
              </a:cxn>
              <a:cxn ang="0">
                <a:pos x="368" y="284"/>
              </a:cxn>
              <a:cxn ang="0">
                <a:pos x="450" y="266"/>
              </a:cxn>
              <a:cxn ang="0">
                <a:pos x="432" y="274"/>
              </a:cxn>
              <a:cxn ang="0">
                <a:pos x="452" y="274"/>
              </a:cxn>
              <a:cxn ang="0">
                <a:pos x="286" y="250"/>
              </a:cxn>
              <a:cxn ang="0">
                <a:pos x="282" y="284"/>
              </a:cxn>
              <a:cxn ang="0">
                <a:pos x="216" y="268"/>
              </a:cxn>
              <a:cxn ang="0">
                <a:pos x="198" y="266"/>
              </a:cxn>
              <a:cxn ang="0">
                <a:pos x="214" y="280"/>
              </a:cxn>
              <a:cxn ang="0">
                <a:pos x="526" y="258"/>
              </a:cxn>
              <a:cxn ang="0">
                <a:pos x="510" y="274"/>
              </a:cxn>
              <a:cxn ang="0">
                <a:pos x="532" y="272"/>
              </a:cxn>
              <a:cxn ang="0">
                <a:pos x="132" y="82"/>
              </a:cxn>
              <a:cxn ang="0">
                <a:pos x="2" y="400"/>
              </a:cxn>
              <a:cxn ang="0">
                <a:pos x="222" y="698"/>
              </a:cxn>
              <a:cxn ang="0">
                <a:pos x="566" y="664"/>
              </a:cxn>
              <a:cxn ang="0">
                <a:pos x="726" y="362"/>
              </a:cxn>
              <a:cxn ang="0">
                <a:pos x="566" y="62"/>
              </a:cxn>
              <a:cxn ang="0">
                <a:pos x="564" y="488"/>
              </a:cxn>
              <a:cxn ang="0">
                <a:pos x="404" y="518"/>
              </a:cxn>
              <a:cxn ang="0">
                <a:pos x="166" y="494"/>
              </a:cxn>
              <a:cxn ang="0">
                <a:pos x="202" y="462"/>
              </a:cxn>
              <a:cxn ang="0">
                <a:pos x="288" y="438"/>
              </a:cxn>
              <a:cxn ang="0">
                <a:pos x="366" y="462"/>
              </a:cxn>
              <a:cxn ang="0">
                <a:pos x="452" y="438"/>
              </a:cxn>
              <a:cxn ang="0">
                <a:pos x="528" y="462"/>
              </a:cxn>
              <a:cxn ang="0">
                <a:pos x="528" y="440"/>
              </a:cxn>
              <a:cxn ang="0">
                <a:pos x="432" y="416"/>
              </a:cxn>
              <a:cxn ang="0">
                <a:pos x="340" y="436"/>
              </a:cxn>
              <a:cxn ang="0">
                <a:pos x="254" y="426"/>
              </a:cxn>
              <a:cxn ang="0">
                <a:pos x="158" y="406"/>
              </a:cxn>
              <a:cxn ang="0">
                <a:pos x="234" y="410"/>
              </a:cxn>
              <a:cxn ang="0">
                <a:pos x="324" y="406"/>
              </a:cxn>
              <a:cxn ang="0">
                <a:pos x="424" y="396"/>
              </a:cxn>
              <a:cxn ang="0">
                <a:pos x="514" y="416"/>
              </a:cxn>
              <a:cxn ang="0">
                <a:pos x="568" y="386"/>
              </a:cxn>
              <a:cxn ang="0">
                <a:pos x="498" y="386"/>
              </a:cxn>
              <a:cxn ang="0">
                <a:pos x="414" y="376"/>
              </a:cxn>
              <a:cxn ang="0">
                <a:pos x="334" y="386"/>
              </a:cxn>
              <a:cxn ang="0">
                <a:pos x="250" y="376"/>
              </a:cxn>
              <a:cxn ang="0">
                <a:pos x="180" y="392"/>
              </a:cxn>
              <a:cxn ang="0">
                <a:pos x="166" y="334"/>
              </a:cxn>
              <a:cxn ang="0">
                <a:pos x="178" y="256"/>
              </a:cxn>
              <a:cxn ang="0">
                <a:pos x="216" y="222"/>
              </a:cxn>
              <a:cxn ang="0">
                <a:pos x="218" y="334"/>
              </a:cxn>
              <a:cxn ang="0">
                <a:pos x="258" y="256"/>
              </a:cxn>
              <a:cxn ang="0">
                <a:pos x="302" y="234"/>
              </a:cxn>
              <a:cxn ang="0">
                <a:pos x="352" y="334"/>
              </a:cxn>
              <a:cxn ang="0">
                <a:pos x="344" y="240"/>
              </a:cxn>
              <a:cxn ang="0">
                <a:pos x="392" y="256"/>
              </a:cxn>
              <a:cxn ang="0">
                <a:pos x="432" y="304"/>
              </a:cxn>
              <a:cxn ang="0">
                <a:pos x="422" y="240"/>
              </a:cxn>
              <a:cxn ang="0">
                <a:pos x="470" y="256"/>
              </a:cxn>
              <a:cxn ang="0">
                <a:pos x="510" y="304"/>
              </a:cxn>
              <a:cxn ang="0">
                <a:pos x="512" y="222"/>
              </a:cxn>
              <a:cxn ang="0">
                <a:pos x="552" y="266"/>
              </a:cxn>
              <a:cxn ang="0">
                <a:pos x="564" y="336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72" y="266"/>
                </a:lnTo>
                <a:lnTo>
                  <a:pt x="368" y="258"/>
                </a:lnTo>
                <a:lnTo>
                  <a:pt x="368" y="258"/>
                </a:lnTo>
                <a:lnTo>
                  <a:pt x="364" y="250"/>
                </a:lnTo>
                <a:lnTo>
                  <a:pt x="364" y="250"/>
                </a:lnTo>
                <a:lnTo>
                  <a:pt x="364" y="250"/>
                </a:lnTo>
                <a:lnTo>
                  <a:pt x="364" y="250"/>
                </a:lnTo>
                <a:lnTo>
                  <a:pt x="356" y="266"/>
                </a:lnTo>
                <a:lnTo>
                  <a:pt x="356" y="266"/>
                </a:lnTo>
                <a:lnTo>
                  <a:pt x="354" y="272"/>
                </a:lnTo>
                <a:lnTo>
                  <a:pt x="354" y="272"/>
                </a:lnTo>
                <a:lnTo>
                  <a:pt x="354" y="274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4"/>
                </a:lnTo>
                <a:lnTo>
                  <a:pt x="374" y="272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50" y="266"/>
                </a:lnTo>
                <a:lnTo>
                  <a:pt x="448" y="258"/>
                </a:lnTo>
                <a:lnTo>
                  <a:pt x="448" y="258"/>
                </a:lnTo>
                <a:lnTo>
                  <a:pt x="442" y="250"/>
                </a:lnTo>
                <a:lnTo>
                  <a:pt x="442" y="250"/>
                </a:lnTo>
                <a:lnTo>
                  <a:pt x="442" y="250"/>
                </a:lnTo>
                <a:lnTo>
                  <a:pt x="442" y="250"/>
                </a:lnTo>
                <a:lnTo>
                  <a:pt x="434" y="266"/>
                </a:lnTo>
                <a:lnTo>
                  <a:pt x="434" y="266"/>
                </a:lnTo>
                <a:lnTo>
                  <a:pt x="432" y="272"/>
                </a:lnTo>
                <a:lnTo>
                  <a:pt x="432" y="272"/>
                </a:lnTo>
                <a:lnTo>
                  <a:pt x="432" y="274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4"/>
                </a:lnTo>
                <a:lnTo>
                  <a:pt x="452" y="272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4" y="266"/>
                </a:lnTo>
                <a:lnTo>
                  <a:pt x="290" y="258"/>
                </a:lnTo>
                <a:lnTo>
                  <a:pt x="290" y="258"/>
                </a:lnTo>
                <a:lnTo>
                  <a:pt x="286" y="250"/>
                </a:lnTo>
                <a:lnTo>
                  <a:pt x="286" y="250"/>
                </a:lnTo>
                <a:lnTo>
                  <a:pt x="286" y="250"/>
                </a:lnTo>
                <a:lnTo>
                  <a:pt x="286" y="250"/>
                </a:lnTo>
                <a:lnTo>
                  <a:pt x="278" y="266"/>
                </a:lnTo>
                <a:lnTo>
                  <a:pt x="278" y="266"/>
                </a:lnTo>
                <a:lnTo>
                  <a:pt x="276" y="272"/>
                </a:lnTo>
                <a:lnTo>
                  <a:pt x="276" y="272"/>
                </a:lnTo>
                <a:lnTo>
                  <a:pt x="276" y="274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4"/>
                </a:lnTo>
                <a:lnTo>
                  <a:pt x="296" y="272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6" y="266"/>
                </a:lnTo>
                <a:lnTo>
                  <a:pt x="212" y="258"/>
                </a:lnTo>
                <a:lnTo>
                  <a:pt x="212" y="258"/>
                </a:lnTo>
                <a:lnTo>
                  <a:pt x="208" y="250"/>
                </a:lnTo>
                <a:lnTo>
                  <a:pt x="208" y="250"/>
                </a:lnTo>
                <a:lnTo>
                  <a:pt x="208" y="250"/>
                </a:lnTo>
                <a:lnTo>
                  <a:pt x="208" y="250"/>
                </a:lnTo>
                <a:lnTo>
                  <a:pt x="198" y="266"/>
                </a:lnTo>
                <a:lnTo>
                  <a:pt x="198" y="266"/>
                </a:lnTo>
                <a:lnTo>
                  <a:pt x="196" y="272"/>
                </a:lnTo>
                <a:lnTo>
                  <a:pt x="196" y="272"/>
                </a:lnTo>
                <a:lnTo>
                  <a:pt x="196" y="274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4"/>
                </a:lnTo>
                <a:lnTo>
                  <a:pt x="218" y="272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8" y="266"/>
                </a:lnTo>
                <a:lnTo>
                  <a:pt x="526" y="258"/>
                </a:lnTo>
                <a:lnTo>
                  <a:pt x="526" y="258"/>
                </a:lnTo>
                <a:lnTo>
                  <a:pt x="520" y="250"/>
                </a:lnTo>
                <a:lnTo>
                  <a:pt x="520" y="250"/>
                </a:lnTo>
                <a:lnTo>
                  <a:pt x="520" y="250"/>
                </a:lnTo>
                <a:lnTo>
                  <a:pt x="520" y="250"/>
                </a:lnTo>
                <a:lnTo>
                  <a:pt x="512" y="266"/>
                </a:lnTo>
                <a:lnTo>
                  <a:pt x="512" y="266"/>
                </a:lnTo>
                <a:lnTo>
                  <a:pt x="510" y="272"/>
                </a:lnTo>
                <a:lnTo>
                  <a:pt x="510" y="272"/>
                </a:lnTo>
                <a:lnTo>
                  <a:pt x="510" y="274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4"/>
                </a:lnTo>
                <a:lnTo>
                  <a:pt x="532" y="272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4" y="488"/>
                </a:lnTo>
                <a:lnTo>
                  <a:pt x="560" y="494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58" y="454"/>
                </a:lnTo>
                <a:lnTo>
                  <a:pt x="180" y="460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68" y="442"/>
                </a:lnTo>
                <a:lnTo>
                  <a:pt x="278" y="438"/>
                </a:lnTo>
                <a:lnTo>
                  <a:pt x="278" y="438"/>
                </a:lnTo>
                <a:lnTo>
                  <a:pt x="282" y="436"/>
                </a:lnTo>
                <a:lnTo>
                  <a:pt x="282" y="436"/>
                </a:lnTo>
                <a:lnTo>
                  <a:pt x="288" y="438"/>
                </a:lnTo>
                <a:lnTo>
                  <a:pt x="288" y="438"/>
                </a:lnTo>
                <a:lnTo>
                  <a:pt x="296" y="442"/>
                </a:lnTo>
                <a:lnTo>
                  <a:pt x="296" y="442"/>
                </a:lnTo>
                <a:lnTo>
                  <a:pt x="312" y="450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32" y="442"/>
                </a:lnTo>
                <a:lnTo>
                  <a:pt x="440" y="438"/>
                </a:lnTo>
                <a:lnTo>
                  <a:pt x="440" y="438"/>
                </a:lnTo>
                <a:lnTo>
                  <a:pt x="446" y="436"/>
                </a:lnTo>
                <a:lnTo>
                  <a:pt x="446" y="436"/>
                </a:lnTo>
                <a:lnTo>
                  <a:pt x="452" y="438"/>
                </a:lnTo>
                <a:lnTo>
                  <a:pt x="452" y="438"/>
                </a:lnTo>
                <a:lnTo>
                  <a:pt x="460" y="442"/>
                </a:lnTo>
                <a:lnTo>
                  <a:pt x="460" y="442"/>
                </a:lnTo>
                <a:lnTo>
                  <a:pt x="476" y="450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28" y="462"/>
                </a:lnTo>
                <a:lnTo>
                  <a:pt x="528" y="462"/>
                </a:lnTo>
                <a:lnTo>
                  <a:pt x="546" y="460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46" y="438"/>
                </a:lnTo>
                <a:lnTo>
                  <a:pt x="528" y="440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86" y="430"/>
                </a:lnTo>
                <a:lnTo>
                  <a:pt x="460" y="416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32" y="416"/>
                </a:lnTo>
                <a:lnTo>
                  <a:pt x="418" y="42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322" y="430"/>
                </a:lnTo>
                <a:lnTo>
                  <a:pt x="298" y="416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68" y="416"/>
                </a:lnTo>
                <a:lnTo>
                  <a:pt x="254" y="42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200" y="440"/>
                </a:lnTo>
                <a:lnTo>
                  <a:pt x="180" y="438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58" y="406"/>
                </a:lnTo>
                <a:lnTo>
                  <a:pt x="168" y="410"/>
                </a:lnTo>
                <a:lnTo>
                  <a:pt x="168" y="410"/>
                </a:lnTo>
                <a:lnTo>
                  <a:pt x="180" y="414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06" y="396"/>
                </a:lnTo>
                <a:lnTo>
                  <a:pt x="324" y="40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70" y="396"/>
                </a:lnTo>
                <a:lnTo>
                  <a:pt x="486" y="40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28" y="416"/>
                </a:lnTo>
                <a:lnTo>
                  <a:pt x="546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54" y="388"/>
                </a:lnTo>
                <a:lnTo>
                  <a:pt x="546" y="392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8" y="386"/>
                </a:lnTo>
                <a:lnTo>
                  <a:pt x="494" y="384"/>
                </a:lnTo>
                <a:lnTo>
                  <a:pt x="494" y="384"/>
                </a:lnTo>
                <a:lnTo>
                  <a:pt x="478" y="376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46" y="370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414" y="376"/>
                </a:lnTo>
                <a:lnTo>
                  <a:pt x="398" y="384"/>
                </a:lnTo>
                <a:lnTo>
                  <a:pt x="398" y="384"/>
                </a:lnTo>
                <a:lnTo>
                  <a:pt x="388" y="390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4" y="386"/>
                </a:lnTo>
                <a:lnTo>
                  <a:pt x="330" y="384"/>
                </a:lnTo>
                <a:lnTo>
                  <a:pt x="330" y="384"/>
                </a:lnTo>
                <a:lnTo>
                  <a:pt x="314" y="376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82" y="370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50" y="376"/>
                </a:lnTo>
                <a:lnTo>
                  <a:pt x="234" y="384"/>
                </a:lnTo>
                <a:lnTo>
                  <a:pt x="234" y="384"/>
                </a:lnTo>
                <a:lnTo>
                  <a:pt x="224" y="390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80" y="392"/>
                </a:lnTo>
                <a:lnTo>
                  <a:pt x="178" y="390"/>
                </a:lnTo>
                <a:lnTo>
                  <a:pt x="178" y="390"/>
                </a:lnTo>
                <a:lnTo>
                  <a:pt x="168" y="384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78" y="256"/>
                </a:lnTo>
                <a:lnTo>
                  <a:pt x="186" y="240"/>
                </a:lnTo>
                <a:lnTo>
                  <a:pt x="186" y="240"/>
                </a:lnTo>
                <a:lnTo>
                  <a:pt x="198" y="222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58" y="256"/>
                </a:lnTo>
                <a:lnTo>
                  <a:pt x="264" y="240"/>
                </a:lnTo>
                <a:lnTo>
                  <a:pt x="264" y="240"/>
                </a:lnTo>
                <a:lnTo>
                  <a:pt x="276" y="222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36" y="256"/>
                </a:lnTo>
                <a:lnTo>
                  <a:pt x="344" y="240"/>
                </a:lnTo>
                <a:lnTo>
                  <a:pt x="344" y="240"/>
                </a:lnTo>
                <a:lnTo>
                  <a:pt x="354" y="222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14" y="256"/>
                </a:lnTo>
                <a:lnTo>
                  <a:pt x="422" y="240"/>
                </a:lnTo>
                <a:lnTo>
                  <a:pt x="422" y="240"/>
                </a:lnTo>
                <a:lnTo>
                  <a:pt x="432" y="222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492" y="256"/>
                </a:lnTo>
                <a:lnTo>
                  <a:pt x="500" y="240"/>
                </a:lnTo>
                <a:lnTo>
                  <a:pt x="500" y="240"/>
                </a:lnTo>
                <a:lnTo>
                  <a:pt x="512" y="222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AC162C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376</Words>
  <Application>Microsoft Office PowerPoint</Application>
  <PresentationFormat>Custom</PresentationFormat>
  <Paragraphs>6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entury Gothic</vt:lpstr>
      <vt:lpstr>Helvetica</vt:lpstr>
      <vt:lpstr>Impact</vt:lpstr>
      <vt:lpstr>Lucida Grande</vt:lpstr>
      <vt:lpstr>Wingdings</vt:lpstr>
      <vt:lpstr>Divider Slides</vt:lpstr>
      <vt:lpstr>think-cell Slide</vt:lpstr>
      <vt:lpstr>Cineworld: Movies for juniors</vt:lpstr>
      <vt:lpstr>Cineworld: Movies for junior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31T10:27:26Z</dcterms:created>
  <dcterms:modified xsi:type="dcterms:W3CDTF">2017-01-23T15:23:5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